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3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4.xml" ContentType="application/vnd.openxmlformats-officedocument.presentationml.slide+xml"/>
  <Override PartName="/ppt/notesSlides/notesSlide5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4.xml" ContentType="application/vnd.openxmlformats-officedocument.presentationml.slideLayout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tags/tag2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7"/>
  </p:notesMasterIdLst>
  <p:sldIdLst>
    <p:sldId id="258" r:id="rId2"/>
    <p:sldId id="259" r:id="rId3"/>
    <p:sldId id="260" r:id="rId4"/>
    <p:sldId id="261" r:id="rId5"/>
    <p:sldId id="262" r:id="rId6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3428" autoAdjust="0"/>
  </p:normalViewPr>
  <p:slideViewPr>
    <p:cSldViewPr snapToGrid="0">
      <p:cViewPr>
        <p:scale>
          <a:sx n="100" d="100"/>
          <a:sy n="100" d="100"/>
        </p:scale>
        <p:origin x="-1950" y="-40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customXml" Target="../customXml/item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bleStyles" Target="tableStyles.xml"/><Relationship Id="rId5" Type="http://schemas.openxmlformats.org/officeDocument/2006/relationships/slide" Target="slides/slide4.xml"/><Relationship Id="rId10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2599FD0-3070-46DD-986B-90323ACCD8C5}" type="datetimeFigureOut">
              <a:rPr lang="en-AU" smtClean="0"/>
              <a:t>12/06/2018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34B6DE-3B1C-489D-9C30-F0C0240E015B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0642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C33C6F-C3BF-4AE7-A362-CCE8FE24964B}" type="slidenum">
              <a:rPr lang="en-AU" smtClean="0">
                <a:solidFill>
                  <a:prstClr val="black"/>
                </a:solidFill>
              </a:rPr>
              <a:pPr/>
              <a:t>1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77409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C33C6F-C3BF-4AE7-A362-CCE8FE24964B}" type="slidenum">
              <a:rPr lang="en-AU" smtClean="0">
                <a:solidFill>
                  <a:prstClr val="black"/>
                </a:solidFill>
              </a:rPr>
              <a:pPr/>
              <a:t>2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596513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C33C6F-C3BF-4AE7-A362-CCE8FE24964B}" type="slidenum">
              <a:rPr lang="en-AU" smtClean="0">
                <a:solidFill>
                  <a:prstClr val="black"/>
                </a:solidFill>
              </a:rPr>
              <a:pPr/>
              <a:t>3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81479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C33C6F-C3BF-4AE7-A362-CCE8FE24964B}" type="slidenum">
              <a:rPr lang="en-AU" smtClean="0">
                <a:solidFill>
                  <a:prstClr val="black"/>
                </a:solidFill>
              </a:rPr>
              <a:pPr/>
              <a:t>4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77458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lvl="0" indent="-171450">
              <a:buFont typeface="Arial" panose="020B0604020202020204" pitchFamily="34" charset="0"/>
              <a:buChar char="•"/>
            </a:pPr>
            <a:endParaRPr lang="en-AU" b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7C33C6F-C3BF-4AE7-A362-CCE8FE24964B}" type="slidenum">
              <a:rPr lang="en-AU" smtClean="0">
                <a:solidFill>
                  <a:prstClr val="black"/>
                </a:solidFill>
              </a:rPr>
              <a:pPr/>
              <a:t>5</a:t>
            </a:fld>
            <a:endParaRPr lang="en-A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7148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35" y="1135"/>
          <a:ext cx="1133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35" y="1135"/>
                        <a:ext cx="1133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anchor="b"/>
          <a:lstStyle>
            <a:lvl1pPr algn="ctr">
              <a:defRPr sz="5656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9"/>
            <a:ext cx="6858000" cy="1655762"/>
          </a:xfrm>
        </p:spPr>
        <p:txBody>
          <a:bodyPr/>
          <a:lstStyle>
            <a:lvl1pPr marL="0" indent="0" algn="ctr">
              <a:buNone/>
              <a:defRPr sz="2263"/>
            </a:lvl1pPr>
            <a:lvl2pPr marL="431020" indent="0" algn="ctr">
              <a:buNone/>
              <a:defRPr sz="1886"/>
            </a:lvl2pPr>
            <a:lvl3pPr marL="862040" indent="0" algn="ctr">
              <a:buNone/>
              <a:defRPr sz="1697"/>
            </a:lvl3pPr>
            <a:lvl4pPr marL="1293060" indent="0" algn="ctr">
              <a:buNone/>
              <a:defRPr sz="1509"/>
            </a:lvl4pPr>
            <a:lvl5pPr marL="1724080" indent="0" algn="ctr">
              <a:buNone/>
              <a:defRPr sz="1509"/>
            </a:lvl5pPr>
            <a:lvl6pPr marL="2155100" indent="0" algn="ctr">
              <a:buNone/>
              <a:defRPr sz="1509"/>
            </a:lvl6pPr>
            <a:lvl7pPr marL="2586120" indent="0" algn="ctr">
              <a:buNone/>
              <a:defRPr sz="1509"/>
            </a:lvl7pPr>
            <a:lvl8pPr marL="3017140" indent="0" algn="ctr">
              <a:buNone/>
              <a:defRPr sz="1509"/>
            </a:lvl8pPr>
            <a:lvl9pPr marL="3448160" indent="0" algn="ctr">
              <a:buNone/>
              <a:defRPr sz="1509"/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140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370988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6" y="365126"/>
            <a:ext cx="1971675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1" y="365126"/>
            <a:ext cx="5800725" cy="58118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40940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TRO 3 col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589"/>
                        <a:ext cx="1190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AU" dirty="0"/>
          </a:p>
        </p:txBody>
      </p:sp>
      <p:sp>
        <p:nvSpPr>
          <p:cNvPr id="25" name="Content Placeholder 24"/>
          <p:cNvSpPr>
            <a:spLocks noGrp="1"/>
          </p:cNvSpPr>
          <p:nvPr>
            <p:ph sz="quarter" idx="10"/>
          </p:nvPr>
        </p:nvSpPr>
        <p:spPr>
          <a:xfrm>
            <a:off x="756224" y="2558850"/>
            <a:ext cx="1940316" cy="6873086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6" name="Content Placeholder 24"/>
          <p:cNvSpPr>
            <a:spLocks noGrp="1"/>
          </p:cNvSpPr>
          <p:nvPr>
            <p:ph sz="quarter" idx="11"/>
          </p:nvPr>
        </p:nvSpPr>
        <p:spPr>
          <a:xfrm>
            <a:off x="3028618" y="2558850"/>
            <a:ext cx="1940316" cy="6873086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7" name="Content Placeholder 24"/>
          <p:cNvSpPr>
            <a:spLocks noGrp="1"/>
          </p:cNvSpPr>
          <p:nvPr>
            <p:ph sz="quarter" idx="12"/>
          </p:nvPr>
        </p:nvSpPr>
        <p:spPr>
          <a:xfrm>
            <a:off x="5301010" y="2558850"/>
            <a:ext cx="1940316" cy="6873086"/>
          </a:xfrm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AU" dirty="0"/>
          </a:p>
        </p:txBody>
      </p:sp>
      <p:sp>
        <p:nvSpPr>
          <p:cNvPr id="29" name="Text Placeholder 28"/>
          <p:cNvSpPr>
            <a:spLocks noGrp="1"/>
          </p:cNvSpPr>
          <p:nvPr>
            <p:ph type="body" sz="quarter" idx="13"/>
          </p:nvPr>
        </p:nvSpPr>
        <p:spPr>
          <a:xfrm>
            <a:off x="756223" y="1948563"/>
            <a:ext cx="2535828" cy="470742"/>
          </a:xfrm>
        </p:spPr>
        <p:txBody>
          <a:bodyPr/>
          <a:lstStyle>
            <a:lvl1pPr marL="0">
              <a:lnSpc>
                <a:spcPct val="120000"/>
              </a:lnSpc>
              <a:defRPr sz="1026">
                <a:latin typeface="Frutiger Next Pro Medium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11548"/>
            <a:fld id="{81D60167-4931-47E6-BA6A-407CBD079E47}" type="slidenum">
              <a:rPr lang="en-US" spc="9" smtClean="0">
                <a:solidFill>
                  <a:prstClr val="black"/>
                </a:solidFill>
              </a:rPr>
              <a:pPr marL="11548"/>
              <a:t>‹#›</a:t>
            </a:fld>
            <a:endParaRPr lang="en-US" spc="9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1360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1090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anchor="b"/>
          <a:lstStyle>
            <a:lvl1pPr>
              <a:defRPr sz="5656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8"/>
          </a:xfrm>
        </p:spPr>
        <p:txBody>
          <a:bodyPr/>
          <a:lstStyle>
            <a:lvl1pPr marL="0" indent="0">
              <a:buNone/>
              <a:defRPr sz="2263">
                <a:solidFill>
                  <a:schemeClr val="tx1"/>
                </a:solidFill>
              </a:defRPr>
            </a:lvl1pPr>
            <a:lvl2pPr marL="431020" indent="0">
              <a:buNone/>
              <a:defRPr sz="1886">
                <a:solidFill>
                  <a:schemeClr val="tx1">
                    <a:tint val="75000"/>
                  </a:schemeClr>
                </a:solidFill>
              </a:defRPr>
            </a:lvl2pPr>
            <a:lvl3pPr marL="862040" indent="0">
              <a:buNone/>
              <a:defRPr sz="1697">
                <a:solidFill>
                  <a:schemeClr val="tx1">
                    <a:tint val="75000"/>
                  </a:schemeClr>
                </a:solidFill>
              </a:defRPr>
            </a:lvl3pPr>
            <a:lvl4pPr marL="129306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4pPr>
            <a:lvl5pPr marL="172408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5pPr>
            <a:lvl6pPr marL="215510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6pPr>
            <a:lvl7pPr marL="258612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7pPr>
            <a:lvl8pPr marL="301714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8pPr>
            <a:lvl9pPr marL="3448160" indent="0">
              <a:buNone/>
              <a:defRPr sz="1509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610320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7220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3"/>
          </a:xfrm>
        </p:spPr>
        <p:txBody>
          <a:bodyPr anchor="b"/>
          <a:lstStyle>
            <a:lvl1pPr marL="0" indent="0">
              <a:buNone/>
              <a:defRPr sz="2263" b="1"/>
            </a:lvl1pPr>
            <a:lvl2pPr marL="431020" indent="0">
              <a:buNone/>
              <a:defRPr sz="1886" b="1"/>
            </a:lvl2pPr>
            <a:lvl3pPr marL="862040" indent="0">
              <a:buNone/>
              <a:defRPr sz="1697" b="1"/>
            </a:lvl3pPr>
            <a:lvl4pPr marL="1293060" indent="0">
              <a:buNone/>
              <a:defRPr sz="1509" b="1"/>
            </a:lvl4pPr>
            <a:lvl5pPr marL="1724080" indent="0">
              <a:buNone/>
              <a:defRPr sz="1509" b="1"/>
            </a:lvl5pPr>
            <a:lvl6pPr marL="2155100" indent="0">
              <a:buNone/>
              <a:defRPr sz="1509" b="1"/>
            </a:lvl6pPr>
            <a:lvl7pPr marL="2586120" indent="0">
              <a:buNone/>
              <a:defRPr sz="1509" b="1"/>
            </a:lvl7pPr>
            <a:lvl8pPr marL="3017140" indent="0">
              <a:buNone/>
              <a:defRPr sz="1509" b="1"/>
            </a:lvl8pPr>
            <a:lvl9pPr marL="3448160" indent="0">
              <a:buNone/>
              <a:defRPr sz="150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6"/>
            <a:ext cx="3868340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1" y="1681163"/>
            <a:ext cx="3887391" cy="823913"/>
          </a:xfrm>
        </p:spPr>
        <p:txBody>
          <a:bodyPr anchor="b"/>
          <a:lstStyle>
            <a:lvl1pPr marL="0" indent="0">
              <a:buNone/>
              <a:defRPr sz="2263" b="1"/>
            </a:lvl1pPr>
            <a:lvl2pPr marL="431020" indent="0">
              <a:buNone/>
              <a:defRPr sz="1886" b="1"/>
            </a:lvl2pPr>
            <a:lvl3pPr marL="862040" indent="0">
              <a:buNone/>
              <a:defRPr sz="1697" b="1"/>
            </a:lvl3pPr>
            <a:lvl4pPr marL="1293060" indent="0">
              <a:buNone/>
              <a:defRPr sz="1509" b="1"/>
            </a:lvl4pPr>
            <a:lvl5pPr marL="1724080" indent="0">
              <a:buNone/>
              <a:defRPr sz="1509" b="1"/>
            </a:lvl5pPr>
            <a:lvl6pPr marL="2155100" indent="0">
              <a:buNone/>
              <a:defRPr sz="1509" b="1"/>
            </a:lvl6pPr>
            <a:lvl7pPr marL="2586120" indent="0">
              <a:buNone/>
              <a:defRPr sz="1509" b="1"/>
            </a:lvl7pPr>
            <a:lvl8pPr marL="3017140" indent="0">
              <a:buNone/>
              <a:defRPr sz="1509" b="1"/>
            </a:lvl8pPr>
            <a:lvl9pPr marL="3448160" indent="0">
              <a:buNone/>
              <a:defRPr sz="1509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1" y="2505076"/>
            <a:ext cx="3887391" cy="3684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50153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734671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4664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01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7"/>
            <a:ext cx="4629150" cy="4873625"/>
          </a:xfrm>
        </p:spPr>
        <p:txBody>
          <a:bodyPr/>
          <a:lstStyle>
            <a:lvl1pPr>
              <a:defRPr sz="3017"/>
            </a:lvl1pPr>
            <a:lvl2pPr>
              <a:defRPr sz="2640"/>
            </a:lvl2pPr>
            <a:lvl3pPr>
              <a:defRPr sz="2263"/>
            </a:lvl3pPr>
            <a:lvl4pPr>
              <a:defRPr sz="1886"/>
            </a:lvl4pPr>
            <a:lvl5pPr>
              <a:defRPr sz="1886"/>
            </a:lvl5pPr>
            <a:lvl6pPr>
              <a:defRPr sz="1886"/>
            </a:lvl6pPr>
            <a:lvl7pPr>
              <a:defRPr sz="1886"/>
            </a:lvl7pPr>
            <a:lvl8pPr>
              <a:defRPr sz="1886"/>
            </a:lvl8pPr>
            <a:lvl9pPr>
              <a:defRPr sz="1886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509"/>
            </a:lvl1pPr>
            <a:lvl2pPr marL="431020" indent="0">
              <a:buNone/>
              <a:defRPr sz="1320"/>
            </a:lvl2pPr>
            <a:lvl3pPr marL="862040" indent="0">
              <a:buNone/>
              <a:defRPr sz="1131"/>
            </a:lvl3pPr>
            <a:lvl4pPr marL="1293060" indent="0">
              <a:buNone/>
              <a:defRPr sz="942"/>
            </a:lvl4pPr>
            <a:lvl5pPr marL="1724080" indent="0">
              <a:buNone/>
              <a:defRPr sz="942"/>
            </a:lvl5pPr>
            <a:lvl6pPr marL="2155100" indent="0">
              <a:buNone/>
              <a:defRPr sz="942"/>
            </a:lvl6pPr>
            <a:lvl7pPr marL="2586120" indent="0">
              <a:buNone/>
              <a:defRPr sz="942"/>
            </a:lvl7pPr>
            <a:lvl8pPr marL="3017140" indent="0">
              <a:buNone/>
              <a:defRPr sz="942"/>
            </a:lvl8pPr>
            <a:lvl9pPr marL="3448160" indent="0">
              <a:buNone/>
              <a:defRPr sz="94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04995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2" y="457200"/>
            <a:ext cx="2949178" cy="1600200"/>
          </a:xfrm>
        </p:spPr>
        <p:txBody>
          <a:bodyPr anchor="b"/>
          <a:lstStyle>
            <a:lvl1pPr>
              <a:defRPr sz="3017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7"/>
            <a:ext cx="4629150" cy="4873625"/>
          </a:xfrm>
        </p:spPr>
        <p:txBody>
          <a:bodyPr anchor="t"/>
          <a:lstStyle>
            <a:lvl1pPr marL="0" indent="0">
              <a:buNone/>
              <a:defRPr sz="3017"/>
            </a:lvl1pPr>
            <a:lvl2pPr marL="431020" indent="0">
              <a:buNone/>
              <a:defRPr sz="2640"/>
            </a:lvl2pPr>
            <a:lvl3pPr marL="862040" indent="0">
              <a:buNone/>
              <a:defRPr sz="2263"/>
            </a:lvl3pPr>
            <a:lvl4pPr marL="1293060" indent="0">
              <a:buNone/>
              <a:defRPr sz="1886"/>
            </a:lvl4pPr>
            <a:lvl5pPr marL="1724080" indent="0">
              <a:buNone/>
              <a:defRPr sz="1886"/>
            </a:lvl5pPr>
            <a:lvl6pPr marL="2155100" indent="0">
              <a:buNone/>
              <a:defRPr sz="1886"/>
            </a:lvl6pPr>
            <a:lvl7pPr marL="2586120" indent="0">
              <a:buNone/>
              <a:defRPr sz="1886"/>
            </a:lvl7pPr>
            <a:lvl8pPr marL="3017140" indent="0">
              <a:buNone/>
              <a:defRPr sz="1886"/>
            </a:lvl8pPr>
            <a:lvl9pPr marL="3448160" indent="0">
              <a:buNone/>
              <a:defRPr sz="1886"/>
            </a:lvl9pPr>
          </a:lstStyle>
          <a:p>
            <a:r>
              <a:rPr lang="en-US" dirty="0" smtClean="0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2" y="2057400"/>
            <a:ext cx="2949178" cy="3811588"/>
          </a:xfrm>
        </p:spPr>
        <p:txBody>
          <a:bodyPr/>
          <a:lstStyle>
            <a:lvl1pPr marL="0" indent="0">
              <a:buNone/>
              <a:defRPr sz="1509"/>
            </a:lvl1pPr>
            <a:lvl2pPr marL="431020" indent="0">
              <a:buNone/>
              <a:defRPr sz="1320"/>
            </a:lvl2pPr>
            <a:lvl3pPr marL="862040" indent="0">
              <a:buNone/>
              <a:defRPr sz="1131"/>
            </a:lvl3pPr>
            <a:lvl4pPr marL="1293060" indent="0">
              <a:buNone/>
              <a:defRPr sz="942"/>
            </a:lvl4pPr>
            <a:lvl5pPr marL="1724080" indent="0">
              <a:buNone/>
              <a:defRPr sz="942"/>
            </a:lvl5pPr>
            <a:lvl6pPr marL="2155100" indent="0">
              <a:buNone/>
              <a:defRPr sz="942"/>
            </a:lvl6pPr>
            <a:lvl7pPr marL="2586120" indent="0">
              <a:buNone/>
              <a:defRPr sz="942"/>
            </a:lvl7pPr>
            <a:lvl8pPr marL="3017140" indent="0">
              <a:buNone/>
              <a:defRPr sz="942"/>
            </a:lvl8pPr>
            <a:lvl9pPr marL="3448160" indent="0">
              <a:buNone/>
              <a:defRPr sz="942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26028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5"/>
            </p:custDataLst>
            <p:extLst/>
          </p:nvPr>
        </p:nvGraphicFramePr>
        <p:xfrm>
          <a:off x="1135" y="1135"/>
          <a:ext cx="1133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16" imgW="416" imgH="416" progId="TCLayout.ActiveDocument.1">
                  <p:embed/>
                </p:oleObj>
              </mc:Choice>
              <mc:Fallback>
                <p:oleObj name="think-cell Slide" r:id="rId1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135" y="1135"/>
                        <a:ext cx="1133" cy="113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24113"/>
            <a:fld id="{BAABDBE7-6C31-486A-8D0C-0A472C696CD9}" type="datetimeFigureOut">
              <a:rPr lang="en-AU" smtClean="0">
                <a:solidFill>
                  <a:prstClr val="black">
                    <a:tint val="75000"/>
                  </a:prstClr>
                </a:solidFill>
              </a:rPr>
              <a:pPr defTabSz="724113"/>
              <a:t>12/06/2018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24113"/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31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24113"/>
            <a:fld id="{FB97D0BD-CA77-4736-B5BA-514DBEF71725}" type="slidenum">
              <a:rPr lang="en-AU" smtClean="0">
                <a:solidFill>
                  <a:prstClr val="black">
                    <a:tint val="75000"/>
                  </a:prstClr>
                </a:solidFill>
              </a:rPr>
              <a:pPr defTabSz="724113"/>
              <a:t>‹#›</a:t>
            </a:fld>
            <a:endParaRPr lang="en-A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1064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3" r:id="rId12"/>
  </p:sldLayoutIdLst>
  <p:txStyles>
    <p:titleStyle>
      <a:lvl1pPr algn="l" defTabSz="862040" rtl="0" eaLnBrk="1" latinLnBrk="0" hangingPunct="1">
        <a:lnSpc>
          <a:spcPct val="90000"/>
        </a:lnSpc>
        <a:spcBef>
          <a:spcPct val="0"/>
        </a:spcBef>
        <a:buNone/>
        <a:defRPr sz="4148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15510" indent="-215510" algn="l" defTabSz="862040" rtl="0" eaLnBrk="1" latinLnBrk="0" hangingPunct="1">
        <a:lnSpc>
          <a:spcPct val="90000"/>
        </a:lnSpc>
        <a:spcBef>
          <a:spcPts val="942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1pPr>
      <a:lvl2pPr marL="64652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2263" kern="1200">
          <a:solidFill>
            <a:schemeClr val="tx1"/>
          </a:solidFill>
          <a:latin typeface="+mn-lt"/>
          <a:ea typeface="+mn-ea"/>
          <a:cs typeface="+mn-cs"/>
        </a:defRPr>
      </a:lvl2pPr>
      <a:lvl3pPr marL="107754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886" kern="1200">
          <a:solidFill>
            <a:schemeClr val="tx1"/>
          </a:solidFill>
          <a:latin typeface="+mn-lt"/>
          <a:ea typeface="+mn-ea"/>
          <a:cs typeface="+mn-cs"/>
        </a:defRPr>
      </a:lvl3pPr>
      <a:lvl4pPr marL="150856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93958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37060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80162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23264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663669" indent="-215510" algn="l" defTabSz="862040" rtl="0" eaLnBrk="1" latinLnBrk="0" hangingPunct="1">
        <a:lnSpc>
          <a:spcPct val="90000"/>
        </a:lnSpc>
        <a:spcBef>
          <a:spcPts val="471"/>
        </a:spcBef>
        <a:buFont typeface="Arial" panose="020B0604020202020204" pitchFamily="34" charset="0"/>
        <a:buChar char="•"/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1pPr>
      <a:lvl2pPr marL="43102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2pPr>
      <a:lvl3pPr marL="86204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3pPr>
      <a:lvl4pPr marL="129306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4pPr>
      <a:lvl5pPr marL="172408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5pPr>
      <a:lvl6pPr marL="215510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6pPr>
      <a:lvl7pPr marL="258612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7pPr>
      <a:lvl8pPr marL="301714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8pPr>
      <a:lvl9pPr marL="3448160" algn="l" defTabSz="862040" rtl="0" eaLnBrk="1" latinLnBrk="0" hangingPunct="1">
        <a:defRPr sz="169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6.pn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7.pn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858608"/>
          <a:ext cx="135749" cy="135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858608"/>
                        <a:ext cx="135749" cy="135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56477" y="1415564"/>
            <a:ext cx="7628691" cy="419587"/>
          </a:xfrm>
        </p:spPr>
        <p:txBody>
          <a:bodyPr>
            <a:normAutofit fontScale="90000"/>
          </a:bodyPr>
          <a:lstStyle/>
          <a:p>
            <a:r>
              <a:rPr lang="en-AU" sz="3000" dirty="0"/>
              <a:t>Example Output – ED Presentation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04077" y="2266226"/>
            <a:ext cx="4050000" cy="280527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5116285" y="2595492"/>
            <a:ext cx="3483429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Consider sub-types (by Category, clinical need, or presenting complaint)</a:t>
            </a: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Look at past and predicted activity</a:t>
            </a: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Drill-down into monthly and daily variation</a:t>
            </a:r>
            <a:br>
              <a:rPr lang="en-AU" sz="1470" dirty="0">
                <a:solidFill>
                  <a:prstClr val="black"/>
                </a:solidFill>
              </a:rPr>
            </a:b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Consider mode of arrival and trends over time</a:t>
            </a:r>
          </a:p>
        </p:txBody>
      </p:sp>
      <p:sp>
        <p:nvSpPr>
          <p:cNvPr id="7" name="object 2"/>
          <p:cNvSpPr txBox="1">
            <a:spLocks/>
          </p:cNvSpPr>
          <p:nvPr/>
        </p:nvSpPr>
        <p:spPr>
          <a:xfrm>
            <a:off x="298325" y="364154"/>
            <a:ext cx="7793147" cy="382862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eaLnBrk="1" hangingPunct="1">
              <a:lnSpc>
                <a:spcPct val="90000"/>
              </a:lnSpc>
              <a:defRPr sz="6157">
                <a:solidFill>
                  <a:schemeClr val="tx1"/>
                </a:solidFill>
                <a:latin typeface="Garamond" panose="02020404030301010803" pitchFamily="18" charset="0"/>
                <a:ea typeface="+mj-ea"/>
                <a:cs typeface="+mj-cs"/>
              </a:defRPr>
            </a:lvl1pPr>
          </a:lstStyle>
          <a:p>
            <a:pPr defTabSz="969940"/>
            <a:r>
              <a:rPr lang="en-AU" sz="2737" dirty="0" smtClean="0">
                <a:solidFill>
                  <a:prstClr val="black"/>
                </a:solidFill>
              </a:rPr>
              <a:t>Quantitative data </a:t>
            </a:r>
            <a:r>
              <a:rPr lang="en-AU" sz="2737" dirty="0">
                <a:solidFill>
                  <a:prstClr val="black"/>
                </a:solidFill>
              </a:rPr>
              <a:t>diagnostic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298325" y="5699342"/>
            <a:ext cx="820684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 smtClean="0"/>
              <a:t>Info available at: HSP app</a:t>
            </a:r>
            <a:r>
              <a:rPr lang="en-GB" sz="1200" dirty="0" smtClean="0"/>
              <a:t>, </a:t>
            </a:r>
            <a:r>
              <a:rPr lang="en-AU" sz="1200" dirty="0" err="1" smtClean="0"/>
              <a:t>FirstNet</a:t>
            </a:r>
            <a:r>
              <a:rPr lang="en-AU" sz="1200" dirty="0" smtClean="0"/>
              <a:t> report or Facility dashboard/ reports generated by data managers, monthly performance reports, PFP predictive tool extract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7687278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858608"/>
          <a:ext cx="135749" cy="135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858608"/>
                        <a:ext cx="135749" cy="135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56477" y="1415564"/>
            <a:ext cx="7628691" cy="419587"/>
          </a:xfrm>
        </p:spPr>
        <p:txBody>
          <a:bodyPr>
            <a:normAutofit fontScale="90000"/>
          </a:bodyPr>
          <a:lstStyle/>
          <a:p>
            <a:r>
              <a:rPr lang="en-AU" sz="3000" dirty="0"/>
              <a:t>Example Output – Admissions vs Discharge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72743" y="2539310"/>
            <a:ext cx="3483429" cy="23544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Consider inclusions and exclusions (</a:t>
            </a:r>
            <a:r>
              <a:rPr lang="en-AU" sz="1470" dirty="0" err="1">
                <a:solidFill>
                  <a:prstClr val="black"/>
                </a:solidFill>
              </a:rPr>
              <a:t>eg</a:t>
            </a:r>
            <a:r>
              <a:rPr lang="en-AU" sz="1470" dirty="0">
                <a:solidFill>
                  <a:prstClr val="black"/>
                </a:solidFill>
              </a:rPr>
              <a:t>. ED short stay)</a:t>
            </a: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Drill down into different weekdays</a:t>
            </a: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Drill down into different specialties</a:t>
            </a: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Consider system activities at key peaks and troughs in activity (e.g. ward rounds / lunch breaks / JMO rotations)</a:t>
            </a: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0823" y="2346934"/>
            <a:ext cx="4050000" cy="2531493"/>
          </a:xfrm>
          <a:prstGeom prst="rect">
            <a:avLst/>
          </a:prstGeom>
          <a:noFill/>
          <a:ln>
            <a:noFill/>
          </a:ln>
          <a:effectLst>
            <a:outerShdw dist="35921" dir="2700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Box 1"/>
          <p:cNvSpPr txBox="1"/>
          <p:nvPr/>
        </p:nvSpPr>
        <p:spPr>
          <a:xfrm>
            <a:off x="476287" y="6013920"/>
            <a:ext cx="63381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Info </a:t>
            </a:r>
            <a:r>
              <a:rPr lang="en-AU" sz="1200" dirty="0" smtClean="0"/>
              <a:t>available in: Facility report, PAS reports (</a:t>
            </a:r>
            <a:r>
              <a:rPr lang="en-AU" sz="1200" dirty="0" err="1" smtClean="0"/>
              <a:t>eMR</a:t>
            </a:r>
            <a:r>
              <a:rPr lang="en-AU" sz="1200" dirty="0" smtClean="0"/>
              <a:t>/ PAS)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4132673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858608"/>
          <a:ext cx="135749" cy="135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858608"/>
                        <a:ext cx="135749" cy="135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56477" y="1415564"/>
            <a:ext cx="7628691" cy="419587"/>
          </a:xfrm>
        </p:spPr>
        <p:txBody>
          <a:bodyPr>
            <a:normAutofit fontScale="90000"/>
          </a:bodyPr>
          <a:lstStyle/>
          <a:p>
            <a:r>
              <a:rPr lang="en-AU" sz="3000" dirty="0"/>
              <a:t>Example Output – What if modelling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29200" y="3071074"/>
            <a:ext cx="3483429" cy="122341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Model ‘what if’ scenarios: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What if ED were empty at 7am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What if we discharged before 10am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What if we reduced admissions by 5%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823" y="2539309"/>
            <a:ext cx="4050000" cy="217152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520823" y="6170243"/>
            <a:ext cx="71586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Info available </a:t>
            </a:r>
            <a:r>
              <a:rPr lang="en-AU" sz="1200" dirty="0" smtClean="0"/>
              <a:t>in: The </a:t>
            </a:r>
            <a:r>
              <a:rPr lang="en-GB" sz="1200" dirty="0" smtClean="0"/>
              <a:t>what if modelling available on PFP predictive tool 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8491947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858608"/>
          <a:ext cx="135749" cy="135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858608"/>
                        <a:ext cx="135749" cy="135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56477" y="1415564"/>
            <a:ext cx="7628691" cy="419587"/>
          </a:xfrm>
        </p:spPr>
        <p:txBody>
          <a:bodyPr>
            <a:normAutofit fontScale="90000"/>
          </a:bodyPr>
          <a:lstStyle/>
          <a:p>
            <a:r>
              <a:rPr lang="en-AU" sz="3000" dirty="0"/>
              <a:t>Example Output – Occupanc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29200" y="2354837"/>
            <a:ext cx="3483429" cy="28069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Look at occupancy for different ‘physical spaces’, </a:t>
            </a:r>
            <a:r>
              <a:rPr lang="en-AU" sz="1470" dirty="0" err="1">
                <a:solidFill>
                  <a:prstClr val="black"/>
                </a:solidFill>
              </a:rPr>
              <a:t>e.g</a:t>
            </a:r>
            <a:r>
              <a:rPr lang="en-AU" sz="1470" dirty="0">
                <a:solidFill>
                  <a:prstClr val="black"/>
                </a:solidFill>
              </a:rPr>
              <a:t>: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ED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Assessment Units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Wards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Transit Lounge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Look at snapshots for different days, different months and different times</a:t>
            </a: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Drill-down into specific cohorts</a:t>
            </a:r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78578" y="2347618"/>
            <a:ext cx="4050000" cy="2554907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" name="TextBox 1"/>
          <p:cNvSpPr txBox="1"/>
          <p:nvPr/>
        </p:nvSpPr>
        <p:spPr>
          <a:xfrm>
            <a:off x="678578" y="6198426"/>
            <a:ext cx="68392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1200" dirty="0"/>
              <a:t>Info available </a:t>
            </a:r>
            <a:r>
              <a:rPr lang="en-AU" sz="1200" dirty="0" smtClean="0"/>
              <a:t>in: the HSP app and Hospital and Ward occupancy data can be found on the PFP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344163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858608"/>
          <a:ext cx="135749" cy="13574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858608"/>
                        <a:ext cx="135749" cy="13574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object 4"/>
          <p:cNvSpPr txBox="1">
            <a:spLocks noGrp="1"/>
          </p:cNvSpPr>
          <p:nvPr>
            <p:ph type="title"/>
          </p:nvPr>
        </p:nvSpPr>
        <p:spPr>
          <a:xfrm>
            <a:off x="756477" y="1415564"/>
            <a:ext cx="7628691" cy="419587"/>
          </a:xfrm>
        </p:spPr>
        <p:txBody>
          <a:bodyPr>
            <a:normAutofit fontScale="90000"/>
          </a:bodyPr>
          <a:lstStyle/>
          <a:p>
            <a:r>
              <a:rPr lang="en-AU" sz="3000" dirty="0"/>
              <a:t>Example Output – Length of Stay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5040086" y="2085848"/>
            <a:ext cx="3483429" cy="3711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Look at Length of Stay for different parts of the patient journey: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ED – waiting decision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ED – waiting admission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Assessment Areas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Wards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Other physical locations 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Discharge areas</a:t>
            </a:r>
          </a:p>
          <a:p>
            <a:pPr marL="557220" lvl="1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Explore variation by specialty; clinician; </a:t>
            </a:r>
            <a:r>
              <a:rPr lang="en-AU" sz="1470" dirty="0" smtClean="0">
                <a:solidFill>
                  <a:prstClr val="black"/>
                </a:solidFill>
              </a:rPr>
              <a:t>Hospital  LOS; (wards or specialty)  </a:t>
            </a:r>
            <a:r>
              <a:rPr lang="en-AU" sz="1470" dirty="0">
                <a:solidFill>
                  <a:prstClr val="black"/>
                </a:solidFill>
              </a:rPr>
              <a:t>day of week; time of day; triage category</a:t>
            </a: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endParaRPr lang="en-AU" sz="1470" dirty="0">
              <a:solidFill>
                <a:prstClr val="black"/>
              </a:solidFill>
            </a:endParaRPr>
          </a:p>
          <a:p>
            <a:pPr marL="214316" indent="-214316" defTabSz="851305">
              <a:buFont typeface="Arial" panose="020B0604020202020204" pitchFamily="34" charset="0"/>
              <a:buChar char="•"/>
            </a:pPr>
            <a:r>
              <a:rPr lang="en-AU" sz="1470" dirty="0">
                <a:solidFill>
                  <a:prstClr val="black"/>
                </a:solidFill>
              </a:rPr>
              <a:t>Look at specific cohorts (e.g. elderly / long-stay patients</a:t>
            </a:r>
            <a:r>
              <a:rPr lang="en-AU" sz="1470" dirty="0" smtClean="0">
                <a:solidFill>
                  <a:prstClr val="black"/>
                </a:solidFill>
              </a:rPr>
              <a:t>)</a:t>
            </a:r>
          </a:p>
          <a:p>
            <a:pPr defTabSz="851305"/>
            <a:endParaRPr lang="en-AU" sz="1470" dirty="0" smtClean="0">
              <a:solidFill>
                <a:prstClr val="black"/>
              </a:solidFill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56477" y="2236531"/>
            <a:ext cx="4050000" cy="2676375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" name="TextBox 2"/>
          <p:cNvSpPr txBox="1"/>
          <p:nvPr/>
        </p:nvSpPr>
        <p:spPr>
          <a:xfrm>
            <a:off x="576197" y="6040398"/>
            <a:ext cx="78553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AU" sz="1200" dirty="0" smtClean="0"/>
              <a:t>Retrospective information available in: Health Round Table, ABM portal, Monthly </a:t>
            </a:r>
            <a:r>
              <a:rPr lang="en-AU" sz="1200" dirty="0"/>
              <a:t>Performance reports, </a:t>
            </a:r>
            <a:r>
              <a:rPr lang="en-AU" sz="1200" dirty="0" smtClean="0"/>
              <a:t>local facility reports</a:t>
            </a:r>
            <a:endParaRPr lang="en-AU" sz="1200" dirty="0"/>
          </a:p>
          <a:p>
            <a:r>
              <a:rPr lang="en-AU" sz="1200" dirty="0" smtClean="0"/>
              <a:t>Operational data available in: PFP has LOS filters and reports for current inpatients      </a:t>
            </a:r>
            <a:endParaRPr lang="en-GB" sz="1200" dirty="0"/>
          </a:p>
        </p:txBody>
      </p:sp>
    </p:spTree>
    <p:extLst>
      <p:ext uri="{BB962C8B-B14F-4D97-AF65-F5344CB8AC3E}">
        <p14:creationId xmlns:p14="http://schemas.microsoft.com/office/powerpoint/2010/main" val="263708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ublishingExpirationDate xmlns="http://schemas.microsoft.com/sharepoint/v3" xsi:nil="true"/>
    <PublishingStartDate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3C046E7DF81C48BACC3DEC487BA9E1" ma:contentTypeVersion="3" ma:contentTypeDescription="Create a new document." ma:contentTypeScope="" ma:versionID="095507325ca5ee933227f9b8dad07012">
  <xsd:schema xmlns:xsd="http://www.w3.org/2001/XMLSchema" xmlns:xs="http://www.w3.org/2001/XMLSchema" xmlns:p="http://schemas.microsoft.com/office/2006/metadata/properties" xmlns:ns1="http://schemas.microsoft.com/sharepoint/v3" targetNamespace="http://schemas.microsoft.com/office/2006/metadata/properties" ma:root="true" ma:fieldsID="074f235200afca78cea09b6a9444dfa4" ns1:_="">
    <xsd:import namespace="http://schemas.microsoft.com/sharepoint/v3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Scheduling Start Date" ma:internalName="PublishingStartDate">
      <xsd:simpleType>
        <xsd:restriction base="dms:Unknown"/>
      </xsd:simpleType>
    </xsd:element>
    <xsd:element name="PublishingExpirationDate" ma:index="9" nillable="true" ma:displayName="Scheduling End Date" ma:internalName="PublishingExpirationDat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E29A11A-D7AA-4205-9376-FC9F2F07D501}"/>
</file>

<file path=customXml/itemProps2.xml><?xml version="1.0" encoding="utf-8"?>
<ds:datastoreItem xmlns:ds="http://schemas.openxmlformats.org/officeDocument/2006/customXml" ds:itemID="{9D4CF63B-FE1E-497C-B481-E00A92FF2D31}"/>
</file>

<file path=customXml/itemProps3.xml><?xml version="1.0" encoding="utf-8"?>
<ds:datastoreItem xmlns:ds="http://schemas.openxmlformats.org/officeDocument/2006/customXml" ds:itemID="{5983EE19-94DB-413F-A084-D3FA8835ECBE}"/>
</file>

<file path=docProps/app.xml><?xml version="1.0" encoding="utf-8"?>
<Properties xmlns="http://schemas.openxmlformats.org/officeDocument/2006/extended-properties" xmlns:vt="http://schemas.openxmlformats.org/officeDocument/2006/docPropsVTypes">
  <TotalTime>595</TotalTime>
  <Words>336</Words>
  <Application>Microsoft Office PowerPoint</Application>
  <PresentationFormat>On-screen Show (4:3)</PresentationFormat>
  <Paragraphs>55</Paragraphs>
  <Slides>5</Slides>
  <Notes>5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7" baseType="lpstr">
      <vt:lpstr>1_Office Theme</vt:lpstr>
      <vt:lpstr>think-cell Slide</vt:lpstr>
      <vt:lpstr>Example Output – ED Presentations</vt:lpstr>
      <vt:lpstr>Example Output – Admissions vs Discharges</vt:lpstr>
      <vt:lpstr>Example Output – What if modelling</vt:lpstr>
      <vt:lpstr>Example Output – Occupancy</vt:lpstr>
      <vt:lpstr>Example Output – Length of Stay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uantitative data examples: Key lines of enquiry</dc:title>
  <dc:creator>Robson, Lucia (AU - Sydney)</dc:creator>
  <cp:lastModifiedBy>BARRETT, Elizabeth</cp:lastModifiedBy>
  <cp:revision>20</cp:revision>
  <dcterms:created xsi:type="dcterms:W3CDTF">2017-12-01T03:10:55Z</dcterms:created>
  <dcterms:modified xsi:type="dcterms:W3CDTF">2018-06-12T00:23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3C046E7DF81C48BACC3DEC487BA9E1</vt:lpwstr>
  </property>
</Properties>
</file>